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76"/>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529"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1" r:id="rId42"/>
    <p:sldId id="965" r:id="rId43"/>
    <p:sldId id="1003" r:id="rId44"/>
    <p:sldId id="611" r:id="rId45"/>
    <p:sldId id="948" r:id="rId46"/>
    <p:sldId id="612" r:id="rId47"/>
    <p:sldId id="613" r:id="rId48"/>
    <p:sldId id="614" r:id="rId49"/>
    <p:sldId id="616" r:id="rId50"/>
    <p:sldId id="949" r:id="rId51"/>
    <p:sldId id="950" r:id="rId52"/>
    <p:sldId id="951" r:id="rId53"/>
    <p:sldId id="952" r:id="rId54"/>
    <p:sldId id="955" r:id="rId55"/>
    <p:sldId id="954" r:id="rId56"/>
    <p:sldId id="953" r:id="rId57"/>
    <p:sldId id="656" r:id="rId58"/>
    <p:sldId id="643" r:id="rId59"/>
    <p:sldId id="679" r:id="rId60"/>
    <p:sldId id="665" r:id="rId61"/>
    <p:sldId id="672" r:id="rId62"/>
    <p:sldId id="680" r:id="rId63"/>
    <p:sldId id="610" r:id="rId64"/>
    <p:sldId id="674" r:id="rId65"/>
    <p:sldId id="681" r:id="rId66"/>
    <p:sldId id="692" r:id="rId67"/>
    <p:sldId id="693" r:id="rId68"/>
    <p:sldId id="676" r:id="rId69"/>
    <p:sldId id="694" r:id="rId70"/>
    <p:sldId id="685" r:id="rId71"/>
    <p:sldId id="697" r:id="rId72"/>
    <p:sldId id="698" r:id="rId73"/>
    <p:sldId id="689" r:id="rId74"/>
    <p:sldId id="699" r:id="rId75"/>
    <p:sldId id="700" r:id="rId76"/>
    <p:sldId id="690" r:id="rId77"/>
    <p:sldId id="682" r:id="rId78"/>
    <p:sldId id="677" r:id="rId79"/>
    <p:sldId id="710" r:id="rId80"/>
    <p:sldId id="713" r:id="rId81"/>
    <p:sldId id="712" r:id="rId82"/>
    <p:sldId id="714" r:id="rId83"/>
    <p:sldId id="723" r:id="rId84"/>
    <p:sldId id="725" r:id="rId85"/>
    <p:sldId id="726" r:id="rId86"/>
    <p:sldId id="728" r:id="rId87"/>
    <p:sldId id="730" r:id="rId88"/>
    <p:sldId id="731" r:id="rId89"/>
    <p:sldId id="732" r:id="rId90"/>
    <p:sldId id="733" r:id="rId91"/>
    <p:sldId id="734" r:id="rId92"/>
    <p:sldId id="735" r:id="rId93"/>
    <p:sldId id="736" r:id="rId94"/>
    <p:sldId id="737" r:id="rId95"/>
    <p:sldId id="707" r:id="rId96"/>
    <p:sldId id="738" r:id="rId97"/>
    <p:sldId id="739" r:id="rId98"/>
    <p:sldId id="740" r:id="rId99"/>
    <p:sldId id="741" r:id="rId100"/>
    <p:sldId id="743" r:id="rId101"/>
    <p:sldId id="742" r:id="rId102"/>
    <p:sldId id="744" r:id="rId103"/>
    <p:sldId id="745" r:id="rId104"/>
    <p:sldId id="746" r:id="rId105"/>
    <p:sldId id="747" r:id="rId106"/>
    <p:sldId id="748" r:id="rId107"/>
    <p:sldId id="749" r:id="rId108"/>
    <p:sldId id="750" r:id="rId109"/>
    <p:sldId id="751" r:id="rId110"/>
    <p:sldId id="752" r:id="rId111"/>
    <p:sldId id="755" r:id="rId112"/>
    <p:sldId id="756" r:id="rId113"/>
    <p:sldId id="757" r:id="rId114"/>
    <p:sldId id="758" r:id="rId115"/>
    <p:sldId id="759" r:id="rId116"/>
    <p:sldId id="760" r:id="rId117"/>
    <p:sldId id="761" r:id="rId118"/>
    <p:sldId id="762" r:id="rId119"/>
    <p:sldId id="764" r:id="rId120"/>
    <p:sldId id="817" r:id="rId121"/>
    <p:sldId id="765" r:id="rId122"/>
    <p:sldId id="766" r:id="rId123"/>
    <p:sldId id="767" r:id="rId124"/>
    <p:sldId id="769" r:id="rId125"/>
    <p:sldId id="784" r:id="rId126"/>
    <p:sldId id="785" r:id="rId127"/>
    <p:sldId id="786" r:id="rId128"/>
    <p:sldId id="770" r:id="rId129"/>
    <p:sldId id="768" r:id="rId130"/>
    <p:sldId id="798" r:id="rId131"/>
    <p:sldId id="803" r:id="rId132"/>
    <p:sldId id="804" r:id="rId133"/>
    <p:sldId id="805" r:id="rId134"/>
    <p:sldId id="806" r:id="rId135"/>
    <p:sldId id="807" r:id="rId136"/>
    <p:sldId id="763" r:id="rId137"/>
    <p:sldId id="810" r:id="rId138"/>
    <p:sldId id="827" r:id="rId139"/>
    <p:sldId id="831" r:id="rId140"/>
    <p:sldId id="832" r:id="rId141"/>
    <p:sldId id="833" r:id="rId142"/>
    <p:sldId id="830" r:id="rId143"/>
    <p:sldId id="837" r:id="rId144"/>
    <p:sldId id="850" r:id="rId145"/>
    <p:sldId id="877" r:id="rId146"/>
    <p:sldId id="878" r:id="rId147"/>
    <p:sldId id="879" r:id="rId148"/>
    <p:sldId id="881" r:id="rId149"/>
    <p:sldId id="885" r:id="rId150"/>
    <p:sldId id="882" r:id="rId151"/>
    <p:sldId id="883" r:id="rId152"/>
    <p:sldId id="884" r:id="rId153"/>
    <p:sldId id="849" r:id="rId154"/>
    <p:sldId id="880" r:id="rId155"/>
    <p:sldId id="873" r:id="rId156"/>
    <p:sldId id="886" r:id="rId157"/>
    <p:sldId id="891" r:id="rId158"/>
    <p:sldId id="887" r:id="rId159"/>
    <p:sldId id="888" r:id="rId160"/>
    <p:sldId id="889" r:id="rId161"/>
    <p:sldId id="890" r:id="rId162"/>
    <p:sldId id="892" r:id="rId163"/>
    <p:sldId id="933" r:id="rId164"/>
    <p:sldId id="935" r:id="rId165"/>
    <p:sldId id="932" r:id="rId166"/>
    <p:sldId id="934" r:id="rId167"/>
    <p:sldId id="931" r:id="rId168"/>
    <p:sldId id="936" r:id="rId169"/>
    <p:sldId id="823" r:id="rId170"/>
    <p:sldId id="821" r:id="rId171"/>
    <p:sldId id="825" r:id="rId172"/>
    <p:sldId id="824" r:id="rId173"/>
    <p:sldId id="822" r:id="rId174"/>
    <p:sldId id="296" r:id="rId1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529"/>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1"/>
            <p14:sldId id="965"/>
            <p14:sldId id="1003"/>
            <p14:sldId id="611"/>
            <p14:sldId id="948"/>
            <p14:sldId id="612"/>
            <p14:sldId id="613"/>
            <p14:sldId id="614"/>
            <p14:sldId id="616"/>
            <p14:sldId id="949"/>
            <p14:sldId id="950"/>
            <p14:sldId id="951"/>
            <p14:sldId id="952"/>
            <p14:sldId id="955"/>
            <p14:sldId id="954"/>
            <p14:sldId id="953"/>
          </p14:sldIdLst>
        </p14:section>
        <p14:section name="DEMO 3"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5D6"/>
    <a:srgbClr val="742774"/>
    <a:srgbClr val="262626"/>
    <a:srgbClr val="8E98A7"/>
    <a:srgbClr val="768092"/>
    <a:srgbClr val="404040"/>
    <a:srgbClr val="F2C812"/>
    <a:srgbClr val="FAFAF8"/>
    <a:srgbClr val="5B2D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887" autoAdjust="0"/>
    <p:restoredTop sz="87540" autoAdjust="0"/>
  </p:normalViewPr>
  <p:slideViewPr>
    <p:cSldViewPr snapToGrid="0">
      <p:cViewPr>
        <p:scale>
          <a:sx n="75" d="100"/>
          <a:sy n="75" d="100"/>
        </p:scale>
        <p:origin x="900" y="810"/>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microsoft.com/office/2016/11/relationships/changesInfo" Target="changesInfos/changesInfo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microsoft.com/office/2015/10/relationships/revisionInfo" Target="revisionInfo.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presProps" Target="presProps.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theme" Target="theme/theme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tableStyles" Target="tableStyles.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notesMaster" Target="notesMasters/notesMaster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slideMaster" Target="slideMasters/slideMaster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69.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4" Type="http://schemas.openxmlformats.org/officeDocument/2006/relationships/hyperlink" Target="https://docs.microsoft.com/en-us/powerapps/maker/signup-for-powerapps" TargetMode="Externa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19 12: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19 12: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7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7618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9602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86420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0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9/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9.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6.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3.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4.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png"/></Relationships>
</file>

<file path=ppt/slides/_rels/slide110.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6.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92.png"/><Relationship Id="rId7" Type="http://schemas.openxmlformats.org/officeDocument/2006/relationships/image" Target="../media/image24.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6.png"/><Relationship Id="rId2" Type="http://schemas.openxmlformats.org/officeDocument/2006/relationships/notesSlide" Target="../notesSlides/notesSlide114.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8.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6.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gif"/><Relationship Id="rId5" Type="http://schemas.openxmlformats.org/officeDocument/2006/relationships/hyperlink" Target="https://go.microsoft.com/fwlink/?LinkId=2083007&amp;clcid=0x409" TargetMode="External"/><Relationship Id="rId4" Type="http://schemas.openxmlformats.org/officeDocument/2006/relationships/image" Target="../media/image28.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6.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6.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6.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6.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9.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5.png"/><Relationship Id="rId7" Type="http://schemas.openxmlformats.org/officeDocument/2006/relationships/image" Target="../media/image6.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7.png"/></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8.png"/><Relationship Id="rId7" Type="http://schemas.openxmlformats.org/officeDocument/2006/relationships/image" Target="../media/image5.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69.png"/></Relationships>
</file>

<file path=ppt/slides/_rels/slide131.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6.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3.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92.png"/><Relationship Id="rId7" Type="http://schemas.openxmlformats.org/officeDocument/2006/relationships/image" Target="../media/image24.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24.png"/><Relationship Id="rId7" Type="http://schemas.openxmlformats.org/officeDocument/2006/relationships/image" Target="../media/image173.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6.png"/><Relationship Id="rId2" Type="http://schemas.openxmlformats.org/officeDocument/2006/relationships/notesSlide" Target="../notesSlides/notesSlide132.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3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176.png"/><Relationship Id="rId5" Type="http://schemas.openxmlformats.org/officeDocument/2006/relationships/image" Target="../media/image6.png"/><Relationship Id="rId4" Type="http://schemas.openxmlformats.org/officeDocument/2006/relationships/image" Target="../media/image5.png"/></Relationships>
</file>

<file path=ppt/slides/_rels/slide13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jpeg"/><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183.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50.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90.png"/><Relationship Id="rId4" Type="http://schemas.openxmlformats.org/officeDocument/2006/relationships/image" Target="../media/image93.png"/><Relationship Id="rId9" Type="http://schemas.openxmlformats.org/officeDocument/2006/relationships/image" Target="../media/image96.png"/></Relationships>
</file>

<file path=ppt/slides/_rels/slide15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4.png"/><Relationship Id="rId7" Type="http://schemas.openxmlformats.org/officeDocument/2006/relationships/image" Target="../media/image5.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92.png"/><Relationship Id="rId10" Type="http://schemas.openxmlformats.org/officeDocument/2006/relationships/image" Target="../media/image96.png"/><Relationship Id="rId4" Type="http://schemas.openxmlformats.org/officeDocument/2006/relationships/image" Target="../media/image93.png"/><Relationship Id="rId9" Type="http://schemas.openxmlformats.org/officeDocument/2006/relationships/image" Target="../media/image189.png"/></Relationships>
</file>

<file path=ppt/slides/_rels/slide153.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94.png"/><Relationship Id="rId7" Type="http://schemas.openxmlformats.org/officeDocument/2006/relationships/image" Target="../media/image6.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7.png"/></Relationships>
</file>

<file path=ppt/slides/_rels/slide15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13.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gif"/><Relationship Id="rId15" Type="http://schemas.openxmlformats.org/officeDocument/2006/relationships/image" Target="../media/image5.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92.png"/><Relationship Id="rId7" Type="http://schemas.openxmlformats.org/officeDocument/2006/relationships/image" Target="../media/image24.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6.png"/><Relationship Id="rId2" Type="http://schemas.openxmlformats.org/officeDocument/2006/relationships/notesSlide" Target="../notesSlides/notesSlide163.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s>
</file>

<file path=ppt/slides/_rels/slide16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6.png"/><Relationship Id="rId7" Type="http://schemas.openxmlformats.org/officeDocument/2006/relationships/image" Target="../media/image5.png"/><Relationship Id="rId2" Type="http://schemas.openxmlformats.org/officeDocument/2006/relationships/notesSlide" Target="../notesSlides/notesSlide164.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9.wdp"/></Relationships>
</file>

<file path=ppt/slides/_rels/slide168.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92.png"/><Relationship Id="rId7" Type="http://schemas.openxmlformats.org/officeDocument/2006/relationships/image" Target="../media/image24.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9.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07.png"/><Relationship Id="rId7" Type="http://schemas.openxmlformats.org/officeDocument/2006/relationships/image" Target="../media/image6.png"/><Relationship Id="rId2" Type="http://schemas.openxmlformats.org/officeDocument/2006/relationships/notesSlide" Target="../notesSlides/notesSlide166.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9.wdp"/><Relationship Id="rId9" Type="http://schemas.microsoft.com/office/2007/relationships/hdphoto" Target="../media/hdphoto10.wdp"/></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5.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7.png"/><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8" Type="http://schemas.openxmlformats.org/officeDocument/2006/relationships/image" Target="../media/image209.png"/><Relationship Id="rId13" Type="http://schemas.openxmlformats.org/officeDocument/2006/relationships/hyperlink" Target="https://github.com/hfleitas" TargetMode="External"/><Relationship Id="rId3" Type="http://schemas.openxmlformats.org/officeDocument/2006/relationships/image" Target="../media/image206.png"/><Relationship Id="rId7" Type="http://schemas.openxmlformats.org/officeDocument/2006/relationships/hyperlink" Target="http://fleitasarts.com/" TargetMode="External"/><Relationship Id="rId12" Type="http://schemas.openxmlformats.org/officeDocument/2006/relationships/image" Target="../media/image210.png"/><Relationship Id="rId17" Type="http://schemas.openxmlformats.org/officeDocument/2006/relationships/image" Target="../media/image6.png"/><Relationship Id="rId2" Type="http://schemas.openxmlformats.org/officeDocument/2006/relationships/notesSlide" Target="../notesSlides/notesSlide167.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10.wdp"/><Relationship Id="rId10" Type="http://schemas.openxmlformats.org/officeDocument/2006/relationships/hyperlink" Target="http://facebook.com/hiramfleitas" TargetMode="External"/><Relationship Id="rId4" Type="http://schemas.microsoft.com/office/2007/relationships/hdphoto" Target="../media/hdphoto9.wdp"/><Relationship Id="rId9" Type="http://schemas.microsoft.com/office/2007/relationships/hdphoto" Target="../media/hdphoto11.wdp"/><Relationship Id="rId14" Type="http://schemas.openxmlformats.org/officeDocument/2006/relationships/image" Target="../media/image208.png"/></Relationships>
</file>

<file path=ppt/slides/_rels/slide171.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6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2.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70.png"/><Relationship Id="rId7"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2.svg"/><Relationship Id="rId4" Type="http://schemas.openxmlformats.org/officeDocument/2006/relationships/image" Target="../media/image71.png"/></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76.png"/><Relationship Id="rId7" Type="http://schemas.openxmlformats.org/officeDocument/2006/relationships/image" Target="../media/image71.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6.png"/><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6.png"/><Relationship Id="rId2" Type="http://schemas.openxmlformats.org/officeDocument/2006/relationships/notesSlide" Target="../notesSlides/notesSlide51.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6.png"/><Relationship Id="rId2" Type="http://schemas.openxmlformats.org/officeDocument/2006/relationships/notesSlide" Target="../notesSlides/notesSlide53.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7.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6.png"/><Relationship Id="rId7" Type="http://schemas.openxmlformats.org/officeDocument/2006/relationships/image" Target="../media/image87.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9.png"/><Relationship Id="rId7" Type="http://schemas.openxmlformats.org/officeDocument/2006/relationships/image" Target="../media/image90.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2.png"/><Relationship Id="rId7" Type="http://schemas.openxmlformats.org/officeDocument/2006/relationships/image" Target="../media/image24.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95.png"/><Relationship Id="rId4" Type="http://schemas.openxmlformats.org/officeDocument/2006/relationships/hyperlink" Target="http://fleitasarts.com/" TargetMode="External"/><Relationship Id="rId9" Type="http://schemas.openxmlformats.org/officeDocument/2006/relationships/image" Target="../media/image94.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24.png"/><Relationship Id="rId7" Type="http://schemas.openxmlformats.org/officeDocument/2006/relationships/image" Target="../media/image93.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96.png"/></Relationships>
</file>

<file path=ppt/slides/_rels/slide6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8.png"/><Relationship Id="rId9" Type="http://schemas.openxmlformats.org/officeDocument/2006/relationships/image" Target="../media/image96.png"/></Relationships>
</file>

<file path=ppt/slides/_rels/slide6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6.png"/><Relationship Id="rId5" Type="http://schemas.openxmlformats.org/officeDocument/2006/relationships/hyperlink" Target="http://fleitasarts.com/" TargetMode="External"/><Relationship Id="rId10" Type="http://schemas.openxmlformats.org/officeDocument/2006/relationships/image" Target="../media/image93.png"/><Relationship Id="rId4" Type="http://schemas.openxmlformats.org/officeDocument/2006/relationships/image" Target="../media/image24.png"/><Relationship Id="rId9" Type="http://schemas.openxmlformats.org/officeDocument/2006/relationships/image" Target="../media/image100.png"/></Relationships>
</file>

<file path=ppt/slides/_rels/slide6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2.png"/><Relationship Id="rId4" Type="http://schemas.openxmlformats.org/officeDocument/2006/relationships/image" Target="../media/image101.png"/></Relationships>
</file>

<file path=ppt/slides/_rels/slide6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5.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5.png"/><Relationship Id="rId11" Type="http://schemas.openxmlformats.org/officeDocument/2006/relationships/image" Target="../media/image17.png"/><Relationship Id="rId5" Type="http://schemas.openxmlformats.org/officeDocument/2006/relationships/hyperlink" Target="http://fleitasarts.com/" TargetMode="External"/><Relationship Id="rId10" Type="http://schemas.openxmlformats.org/officeDocument/2006/relationships/image" Target="../media/image16.png"/><Relationship Id="rId4" Type="http://schemas.microsoft.com/office/2007/relationships/hdphoto" Target="../media/hdphoto4.wdp"/><Relationship Id="rId9"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7.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8.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9.png"/></Relationships>
</file>

<file path=ppt/slides/_rels/slide7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6.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microsoft.com/office/2007/relationships/hdphoto" Target="../media/hdphoto3.wdp"/><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7.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4.png"/><Relationship Id="rId10" Type="http://schemas.openxmlformats.org/officeDocument/2006/relationships/image" Target="../media/image6.png"/><Relationship Id="rId4" Type="http://schemas.openxmlformats.org/officeDocument/2006/relationships/image" Target="../media/image23.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3.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4AAD82EC-417D-4F28-A0F0-70A1369348B9}"/>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99BDE764-AD57-415A-B42F-7E856F2EB852}"/>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E6CBCDDF-0D48-43CB-A692-0AAAE08060A3}"/>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D7A73816-D479-4D53-9F51-A37AC572DBC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colorTemperature colorTemp="59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1</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Azure Data Studio</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5"/>
              <a:extLst>
                <a:ext uri="{FF2B5EF4-FFF2-40B4-BE49-F238E27FC236}">
                  <a16:creationId xmlns:a16="http://schemas.microsoft.com/office/drawing/2014/main" id="{1DDAA144-7606-4703-8932-8F6631224B0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0AB39F58-9175-4AF4-BF2E-8060A48A1306}"/>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9150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97405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04299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6305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9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8" name="Picture 7" descr="A picture containing man, person&#10;&#10;Description generated with very high confidence">
            <a:extLst>
              <a:ext uri="{FF2B5EF4-FFF2-40B4-BE49-F238E27FC236}">
                <a16:creationId xmlns:a16="http://schemas.microsoft.com/office/drawing/2014/main" id="{82673CAD-2CDB-49A3-BF04-73EDF9BD0DEE}"/>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3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dirty="0">
                <a:solidFill>
                  <a:srgbClr val="FFFFFF"/>
                </a:solidFill>
                <a:latin typeface="Segoe UI Light" panose="020B0502040204020203" pitchFamily="34" charset="0"/>
                <a:cs typeface="Segoe UI Light" panose="020B0502040204020203" pitchFamily="34" charset="0"/>
              </a:rPr>
              <a:t>DEMO 2</a:t>
            </a:r>
            <a:endParaRPr lang="en-US" sz="9600" kern="1200" dirty="0">
              <a:solidFill>
                <a:srgbClr val="FFFFFF"/>
              </a:solidFill>
              <a:latin typeface="Segoe UI Light" panose="020B0502040204020203" pitchFamily="34" charset="0"/>
              <a:cs typeface="Segoe UI Light" panose="020B0502040204020203" pitchFamily="34" charset="0"/>
            </a:endParaRP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App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56D79E1B-2564-4396-973F-3B526EE11C9C}"/>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AB40275-127A-4EAF-A626-1CA0B1F9AEBC}"/>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D3EFCD06-6FDA-4182-AF0F-11FB13B40FF9}"/>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5" name="Straight Connector 4">
            <a:extLst>
              <a:ext uri="{FF2B5EF4-FFF2-40B4-BE49-F238E27FC236}">
                <a16:creationId xmlns:a16="http://schemas.microsoft.com/office/drawing/2014/main" id="{6F2130AE-3D5D-4680-BF2B-295E43BFB137}"/>
              </a:ext>
            </a:extLst>
          </p:cNvPr>
          <p:cNvCxnSpPr/>
          <p:nvPr/>
        </p:nvCxnSpPr>
        <p:spPr>
          <a:xfrm>
            <a:off x="4055891" y="2286000"/>
            <a:ext cx="0" cy="2286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67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500"/>
                    </a14:imgEffect>
                  </a14:imgLayer>
                </a14:imgProps>
              </a:ext>
            </a:extLst>
          </a:blip>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4387349" y="1200152"/>
            <a:ext cx="6897171" cy="44576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FFFFFF"/>
                </a:solidFill>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200152"/>
            <a:ext cx="3666498" cy="445769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a:solidFill>
                  <a:srgbClr val="FFFFFF"/>
                </a:solidFill>
                <a:latin typeface="Segoe UI Light" panose="020B0502040204020203" pitchFamily="34" charset="0"/>
                <a:cs typeface="Segoe UI Light" panose="020B0502040204020203" pitchFamily="34" charset="0"/>
              </a:rPr>
              <a:t>PowerApps</a:t>
            </a:r>
            <a:endParaRPr lang="en-US" sz="2400" dirty="0">
              <a:solidFill>
                <a:srgbClr val="FFFFFF"/>
              </a:solidFill>
              <a:latin typeface="Segoe UI Light" panose="020B0502040204020203" pitchFamily="34" charset="0"/>
              <a:cs typeface="Segoe UI Light" panose="020B0502040204020203" pitchFamily="34" charset="0"/>
            </a:endParaRPr>
          </a:p>
        </p:txBody>
      </p:sp>
      <p:cxnSp>
        <p:nvCxnSpPr>
          <p:cNvPr id="15" name="Straight Connector 14">
            <a:extLst>
              <a:ext uri="{FF2B5EF4-FFF2-40B4-BE49-F238E27FC236}">
                <a16:creationId xmlns:a16="http://schemas.microsoft.com/office/drawing/2014/main" id="{8BE67920-A9CC-4F25-BD60-995286DCE5A3}"/>
              </a:ext>
            </a:extLst>
          </p:cNvPr>
          <p:cNvCxnSpPr/>
          <p:nvPr/>
        </p:nvCxnSpPr>
        <p:spPr>
          <a:xfrm>
            <a:off x="4055891" y="2286000"/>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562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0401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9D474E88-A788-4EA2-B775-F5AE1ABFBA14}"/>
              </a:ext>
            </a:extLst>
          </p:cNvPr>
          <p:cNvGrpSpPr/>
          <p:nvPr/>
        </p:nvGrpSpPr>
        <p:grpSpPr>
          <a:xfrm>
            <a:off x="11290646" y="6569923"/>
            <a:ext cx="831504" cy="252506"/>
            <a:chOff x="668108" y="601336"/>
            <a:chExt cx="3665655" cy="1113164"/>
          </a:xfrm>
          <a:solidFill>
            <a:sysClr val="window" lastClr="FFFFFF"/>
          </a:solidFill>
        </p:grpSpPr>
        <p:pic>
          <p:nvPicPr>
            <p:cNvPr id="92" name="Picture 91">
              <a:hlinkClick r:id="rId5"/>
              <a:extLst>
                <a:ext uri="{FF2B5EF4-FFF2-40B4-BE49-F238E27FC236}">
                  <a16:creationId xmlns:a16="http://schemas.microsoft.com/office/drawing/2014/main" id="{97142A82-5E29-4BD9-BE18-ED32CE895E93}"/>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93" name="Picture 92">
              <a:hlinkClick r:id="rId5"/>
              <a:extLst>
                <a:ext uri="{FF2B5EF4-FFF2-40B4-BE49-F238E27FC236}">
                  <a16:creationId xmlns:a16="http://schemas.microsoft.com/office/drawing/2014/main" id="{3EF1FCB7-F8C1-43E8-8F62-4055AAE78316}"/>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994238" y="4464996"/>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4241" y="446499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0422" y="5236112"/>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464996"/>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91443" y="6005911"/>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8"/>
            <a:extLst>
              <a:ext uri="{FF2B5EF4-FFF2-40B4-BE49-F238E27FC236}">
                <a16:creationId xmlns:a16="http://schemas.microsoft.com/office/drawing/2014/main" id="{2CAC3233-B01E-4D5B-9DDB-BF9F357BF471}"/>
              </a:ext>
            </a:extLst>
          </p:cNvPr>
          <p:cNvSpPr txBox="1">
            <a:spLocks/>
          </p:cNvSpPr>
          <p:nvPr/>
        </p:nvSpPr>
        <p:spPr>
          <a:xfrm>
            <a:off x="8680126" y="4464996"/>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91443" y="5231398"/>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8"/>
            <a:extLst>
              <a:ext uri="{FF2B5EF4-FFF2-40B4-BE49-F238E27FC236}">
                <a16:creationId xmlns:a16="http://schemas.microsoft.com/office/drawing/2014/main" id="{A4006438-774E-4F55-84BD-4D171879B3E9}"/>
              </a:ext>
            </a:extLst>
          </p:cNvPr>
          <p:cNvSpPr txBox="1">
            <a:spLocks/>
          </p:cNvSpPr>
          <p:nvPr/>
        </p:nvSpPr>
        <p:spPr>
          <a:xfrm>
            <a:off x="4991443" y="6000594"/>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8"/>
            <a:extLst>
              <a:ext uri="{FF2B5EF4-FFF2-40B4-BE49-F238E27FC236}">
                <a16:creationId xmlns:a16="http://schemas.microsoft.com/office/drawing/2014/main" id="{416F5CF2-0E3A-4FD6-8C7B-C12C8E145E68}"/>
              </a:ext>
            </a:extLst>
          </p:cNvPr>
          <p:cNvSpPr txBox="1">
            <a:spLocks/>
          </p:cNvSpPr>
          <p:nvPr/>
        </p:nvSpPr>
        <p:spPr>
          <a:xfrm>
            <a:off x="8700422" y="5236112"/>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8"/>
            <a:extLst>
              <a:ext uri="{FF2B5EF4-FFF2-40B4-BE49-F238E27FC236}">
                <a16:creationId xmlns:a16="http://schemas.microsoft.com/office/drawing/2014/main" id="{91F4816D-C183-47DA-97C1-43A2C8F843E4}"/>
              </a:ext>
            </a:extLst>
          </p:cNvPr>
          <p:cNvSpPr txBox="1">
            <a:spLocks/>
          </p:cNvSpPr>
          <p:nvPr/>
        </p:nvSpPr>
        <p:spPr>
          <a:xfrm>
            <a:off x="4991443" y="5234193"/>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2585323"/>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Staff Officer</a:t>
            </a:r>
          </a:p>
          <a:p>
            <a:pPr lvl="0" algn="r">
              <a:defRPr/>
            </a:pPr>
            <a:r>
              <a:rPr lang="en-US" dirty="0">
                <a:latin typeface="Segoe UI Light" panose="020B0502040204020203" pitchFamily="34" charset="0"/>
                <a:cs typeface="Segoe UI Light" panose="020B0502040204020203" pitchFamily="34" charset="0"/>
              </a:rPr>
              <a:t>Microsoft Certified Professional</a:t>
            </a:r>
          </a:p>
          <a:p>
            <a:pPr algn="r">
              <a:defRPr/>
            </a:pPr>
            <a:r>
              <a:rPr lang="en-US" dirty="0">
                <a:latin typeface="Segoe UI Light" panose="020B0502040204020203" pitchFamily="34" charset="0"/>
                <a:cs typeface="Segoe UI Light" panose="020B0502040204020203" pitchFamily="34" charset="0"/>
              </a:rPr>
              <a:t>Power BI Certified</a:t>
            </a:r>
          </a:p>
          <a:p>
            <a:pPr algn="r">
              <a:defRPr/>
            </a:pPr>
            <a:r>
              <a:rPr lang="en-US" dirty="0">
                <a:solidFill>
                  <a:srgbClr val="0075D6"/>
                </a:solidFill>
                <a:latin typeface="Segoe UI Light" panose="020B0502040204020203" pitchFamily="34" charset="0"/>
                <a:cs typeface="Segoe UI Light" panose="020B0502040204020203" pitchFamily="34" charset="0"/>
              </a:rPr>
              <a:t>Azure AI Engineer</a:t>
            </a:r>
          </a:p>
        </p:txBody>
      </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400175"/>
            <a:ext cx="7607927" cy="5206035"/>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velop T-SQL on Azure Data Studio Notebook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742774"/>
                </a:solidFill>
                <a:latin typeface="Segoe UI Light" panose="020B0502040204020203" pitchFamily="34" charset="0"/>
                <a:cs typeface="Segoe UI Light" panose="020B0502040204020203" pitchFamily="34" charset="0"/>
              </a:rPr>
              <a:t>Power App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742774"/>
                </a:solidFill>
                <a:latin typeface="Segoe UI Light" panose="020B0502040204020203" pitchFamily="34" charset="0"/>
                <a:cs typeface="Segoe UI Light" panose="020B0502040204020203" pitchFamily="34" charset="0"/>
              </a:rPr>
              <a:t>Input Text, Buttons, Output Labels, Camera, Map</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0075D6"/>
                </a:solidFill>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75D6"/>
                </a:solidFill>
                <a:latin typeface="Segoe UI Light" panose="020B0502040204020203" pitchFamily="34" charset="0"/>
                <a:cs typeface="Segoe UI Light" panose="020B0502040204020203" pitchFamily="34" charset="0"/>
              </a:rPr>
              <a:t>Exec SQL Server Stored Procedure, Variables, Response, Tes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On-premise 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B0F0"/>
                </a:solidFill>
                <a:latin typeface="Segoe UI Light" panose="020B0502040204020203" pitchFamily="34" charset="0"/>
                <a:cs typeface="Segoe UI Light" panose="020B0502040204020203" pitchFamily="34" charset="0"/>
              </a:rPr>
              <a:t>Cortana</a:t>
            </a:r>
            <a:r>
              <a:rPr lang="en-US" sz="2000" dirty="0">
                <a:latin typeface="Segoe UI Light" panose="020B0502040204020203" pitchFamily="34" charset="0"/>
                <a:cs typeface="Segoe UI Light" panose="020B0502040204020203" pitchFamily="34" charset="0"/>
              </a:rPr>
              <a:t> utterance show </a:t>
            </a:r>
            <a:r>
              <a:rPr lang="en-US" sz="2000" dirty="0">
                <a:solidFill>
                  <a:srgbClr val="F2C812"/>
                </a:solidFill>
                <a:latin typeface="Segoe UI Light" panose="020B0502040204020203" pitchFamily="34" charset="0"/>
                <a:cs typeface="Segoe UI Light" panose="020B0502040204020203" pitchFamily="34" charset="0"/>
              </a:rPr>
              <a:t>Power BI</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ely Publish &amp; Share</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38" name="Group 37">
            <a:extLst>
              <a:ext uri="{FF2B5EF4-FFF2-40B4-BE49-F238E27FC236}">
                <a16:creationId xmlns:a16="http://schemas.microsoft.com/office/drawing/2014/main" id="{FED12B76-9A02-452E-A374-5A88AAE2C0B4}"/>
              </a:ext>
            </a:extLst>
          </p:cNvPr>
          <p:cNvGrpSpPr/>
          <p:nvPr/>
        </p:nvGrpSpPr>
        <p:grpSpPr>
          <a:xfrm>
            <a:off x="11290646" y="6569923"/>
            <a:ext cx="831504" cy="252506"/>
            <a:chOff x="668108" y="601336"/>
            <a:chExt cx="3665655" cy="1113164"/>
          </a:xfrm>
          <a:solidFill>
            <a:sysClr val="window" lastClr="FFFFFF"/>
          </a:solidFill>
        </p:grpSpPr>
        <p:pic>
          <p:nvPicPr>
            <p:cNvPr id="40" name="Picture 39">
              <a:hlinkClick r:id="rId7"/>
              <a:extLst>
                <a:ext uri="{FF2B5EF4-FFF2-40B4-BE49-F238E27FC236}">
                  <a16:creationId xmlns:a16="http://schemas.microsoft.com/office/drawing/2014/main" id="{74637490-DCF3-4CD7-A32F-1BBBE5520805}"/>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41" name="Picture 40">
              <a:hlinkClick r:id="rId7"/>
              <a:extLst>
                <a:ext uri="{FF2B5EF4-FFF2-40B4-BE49-F238E27FC236}">
                  <a16:creationId xmlns:a16="http://schemas.microsoft.com/office/drawing/2014/main" id="{C773F620-3F0F-49ED-8B21-6541E6FB5839}"/>
                </a:ext>
              </a:extLst>
            </p:cNvPr>
            <p:cNvPicPr>
              <a:picLocks noChangeAspect="1"/>
            </p:cNvPicPr>
            <p:nvPr/>
          </p:nvPicPr>
          <p:blipFill>
            <a:blip r:embed="rId9"/>
            <a:stretch>
              <a:fillRect/>
            </a:stretch>
          </p:blipFill>
          <p:spPr>
            <a:xfrm>
              <a:off x="1465541" y="1130596"/>
              <a:ext cx="2868222" cy="355013"/>
            </a:xfrm>
            <a:prstGeom prst="rect">
              <a:avLst/>
            </a:prstGeom>
            <a:grpFill/>
          </p:spPr>
        </p:pic>
      </p:grpSp>
      <p:grpSp>
        <p:nvGrpSpPr>
          <p:cNvPr id="43" name="Group 42">
            <a:extLst>
              <a:ext uri="{FF2B5EF4-FFF2-40B4-BE49-F238E27FC236}">
                <a16:creationId xmlns:a16="http://schemas.microsoft.com/office/drawing/2014/main" id="{9C8B6060-B765-46DB-B52D-750644E8397A}"/>
              </a:ext>
            </a:extLst>
          </p:cNvPr>
          <p:cNvGrpSpPr/>
          <p:nvPr/>
        </p:nvGrpSpPr>
        <p:grpSpPr>
          <a:xfrm>
            <a:off x="-263802" y="5360608"/>
            <a:ext cx="1474115" cy="1497392"/>
            <a:chOff x="-304882" y="3583735"/>
            <a:chExt cx="1397665" cy="1419734"/>
          </a:xfrm>
          <a:solidFill>
            <a:schemeClr val="bg1"/>
          </a:solidFill>
        </p:grpSpPr>
        <p:sp>
          <p:nvSpPr>
            <p:cNvPr id="44" name="Parallelogram 3">
              <a:extLst>
                <a:ext uri="{FF2B5EF4-FFF2-40B4-BE49-F238E27FC236}">
                  <a16:creationId xmlns:a16="http://schemas.microsoft.com/office/drawing/2014/main" id="{DBEB4788-8710-4646-A3C0-DE45283D3C30}"/>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5" name="Parallelogram 3">
              <a:extLst>
                <a:ext uri="{FF2B5EF4-FFF2-40B4-BE49-F238E27FC236}">
                  <a16:creationId xmlns:a16="http://schemas.microsoft.com/office/drawing/2014/main" id="{F6C41E4D-2E1D-4C06-8209-1C2DD5C95C66}"/>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6" name="Parallelogram 3">
              <a:extLst>
                <a:ext uri="{FF2B5EF4-FFF2-40B4-BE49-F238E27FC236}">
                  <a16:creationId xmlns:a16="http://schemas.microsoft.com/office/drawing/2014/main" id="{6CD2F89B-BC08-45C9-BE2F-75A591786D82}"/>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308</TotalTime>
  <Words>9683</Words>
  <Application>Microsoft Office PowerPoint</Application>
  <PresentationFormat>Widescreen</PresentationFormat>
  <Paragraphs>1127</Paragraphs>
  <Slides>171</Slides>
  <Notes>168</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1</vt:i4>
      </vt:variant>
    </vt:vector>
  </HeadingPairs>
  <TitlesOfParts>
    <vt:vector size="189"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13</cp:revision>
  <dcterms:created xsi:type="dcterms:W3CDTF">2016-05-30T15:33:26Z</dcterms:created>
  <dcterms:modified xsi:type="dcterms:W3CDTF">2019-04-29T05:09:31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